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4" r:id="rId1"/>
  </p:sldMasterIdLst>
  <p:notesMasterIdLst>
    <p:notesMasterId r:id="rId12"/>
  </p:notesMasterIdLst>
  <p:sldIdLst>
    <p:sldId id="324" r:id="rId2"/>
    <p:sldId id="314" r:id="rId3"/>
    <p:sldId id="313" r:id="rId4"/>
    <p:sldId id="319" r:id="rId5"/>
    <p:sldId id="320" r:id="rId6"/>
    <p:sldId id="323" r:id="rId7"/>
    <p:sldId id="321" r:id="rId8"/>
    <p:sldId id="316" r:id="rId9"/>
    <p:sldId id="317" r:id="rId10"/>
    <p:sldId id="318" r:id="rId11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CAF7"/>
    <a:srgbClr val="94C4F0"/>
    <a:srgbClr val="3366FF"/>
    <a:srgbClr val="00CCFF"/>
    <a:srgbClr val="0099FF"/>
    <a:srgbClr val="5BC1FF"/>
    <a:srgbClr val="CB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67" autoAdjust="0"/>
    <p:restoredTop sz="94683" autoAdjust="0"/>
  </p:normalViewPr>
  <p:slideViewPr>
    <p:cSldViewPr>
      <p:cViewPr varScale="1">
        <p:scale>
          <a:sx n="87" d="100"/>
          <a:sy n="87" d="100"/>
        </p:scale>
        <p:origin x="-1692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dirty="0" smtClean="0">
                <a:latin typeface="Times New Roman"/>
                <a:cs typeface="Times New Roman"/>
              </a:rPr>
              <a:t>За</a:t>
            </a:r>
            <a:r>
              <a:rPr lang="ru-RU" baseline="0" dirty="0" smtClean="0">
                <a:latin typeface="Times New Roman"/>
                <a:cs typeface="Times New Roman"/>
              </a:rPr>
              <a:t> </a:t>
            </a:r>
            <a:r>
              <a:rPr lang="en-US" baseline="0" dirty="0" smtClean="0">
                <a:latin typeface="Times New Roman"/>
                <a:cs typeface="Times New Roman"/>
              </a:rPr>
              <a:t>I </a:t>
            </a:r>
            <a:r>
              <a:rPr lang="ru-RU" baseline="0" dirty="0" smtClean="0">
                <a:latin typeface="Times New Roman"/>
                <a:cs typeface="Times New Roman"/>
              </a:rPr>
              <a:t>полугодие </a:t>
            </a:r>
            <a:r>
              <a:rPr lang="ru-RU" dirty="0" smtClean="0">
                <a:latin typeface="Times New Roman"/>
                <a:cs typeface="Times New Roman"/>
              </a:rPr>
              <a:t>2024</a:t>
            </a:r>
            <a:endParaRPr lang="ru-RU" dirty="0"/>
          </a:p>
        </c:rich>
      </c:tx>
      <c:layout>
        <c:manualLayout>
          <c:xMode val="edge"/>
          <c:yMode val="edge"/>
          <c:x val="0.18434366797900262"/>
          <c:y val="5.6250000000000001E-2"/>
        </c:manualLayout>
      </c:layout>
      <c:overlay val="0"/>
      <c:spPr>
        <a:effectLst>
          <a:outerShdw blurRad="63500" algn="ctr" rotWithShape="0">
            <a:prstClr val="black"/>
          </a:outerShdw>
        </a:effectLst>
      </c:spPr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15"/>
          <c:dPt>
            <c:idx val="0"/>
            <c:bubble3D val="0"/>
            <c:spPr>
              <a:solidFill>
                <a:srgbClr val="00B050"/>
              </a:solidFill>
            </c:spPr>
          </c:dPt>
          <c:dPt>
            <c:idx val="1"/>
            <c:bubble3D val="0"/>
            <c:spPr>
              <a:solidFill>
                <a:srgbClr val="3366FF"/>
              </a:solidFill>
            </c:spPr>
          </c:dPt>
          <c:dLbls>
            <c:dLbl>
              <c:idx val="0"/>
              <c:layout>
                <c:manualLayout>
                  <c:x val="-0.14873277559055118"/>
                  <c:y val="1.7093750000000001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44%</a:t>
                    </a:r>
                    <a:endParaRPr lang="en-US" b="1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15105921916010498"/>
                  <c:y val="-8.4670767716535436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56%</a:t>
                    </a:r>
                    <a:endParaRPr lang="en-US" b="1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Готовность</c:v>
                </c:pt>
                <c:pt idx="1">
                  <c:v>На стадии внедрен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4</c:v>
                </c:pt>
                <c:pt idx="1">
                  <c:v>5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73771866797900265"/>
          <c:y val="0.317681594488189"/>
          <c:w val="0.24978133202099737"/>
          <c:h val="0.4086368110236220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DC6CB2-FFAE-4841-AA05-27722B363968}" type="datetimeFigureOut">
              <a:rPr lang="ru-RU" smtClean="0"/>
              <a:t>21.08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1" y="471646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127B48-7296-4377-8E3D-FABDA14C31F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78916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2950"/>
            <a:ext cx="496570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127B48-7296-4377-8E3D-FABDA14C31F8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946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127B48-7296-4377-8E3D-FABDA14C31F8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946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127B48-7296-4377-8E3D-FABDA14C31F8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946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127B48-7296-4377-8E3D-FABDA14C31F8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946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127B48-7296-4377-8E3D-FABDA14C31F8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946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127B48-7296-4377-8E3D-FABDA14C31F8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946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127B48-7296-4377-8E3D-FABDA14C31F8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946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127B48-7296-4377-8E3D-FABDA14C31F8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946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565139-C3A4-4570-92FA-A6C4C6FD4CE6}" type="datetime1">
              <a:rPr lang="ru-RU" smtClean="0"/>
              <a:t>21.08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E7DBB1-E1CE-49E6-BABE-9E71FEE74AAC}" type="datetime1">
              <a:rPr lang="ru-RU" smtClean="0"/>
              <a:t>21.08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084E79-4104-4E3A-BDE3-04F6A3E5B45F}" type="datetime1">
              <a:rPr lang="ru-RU" smtClean="0"/>
              <a:t>21.08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40870-1E62-4066-A2F5-085B7D3A60B4}" type="datetime1">
              <a:rPr lang="ru-RU" smtClean="0"/>
              <a:t>21.08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9CF18-B8DA-4832-8150-20DCAE7D267D}" type="datetime1">
              <a:rPr lang="ru-RU" smtClean="0"/>
              <a:t>21.08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4AA54-E72E-42BC-80F8-0BD674323563}" type="datetime1">
              <a:rPr lang="ru-RU" smtClean="0"/>
              <a:t>21.08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AF368C-0205-4613-BD0E-B88EE3FFC8F1}" type="datetime1">
              <a:rPr lang="ru-RU" smtClean="0"/>
              <a:t>21.08.2024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5DB13-6328-4C03-BB69-BB5C81D00C9A}" type="datetime1">
              <a:rPr lang="ru-RU" smtClean="0"/>
              <a:t>21.08.202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7FE4B-6790-4DCE-9A4B-97AEF3E8B359}" type="datetime1">
              <a:rPr lang="ru-RU" smtClean="0"/>
              <a:t>21.08.2024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62401-BD04-455B-950F-AC8542FD048B}" type="datetime1">
              <a:rPr lang="ru-RU" smtClean="0"/>
              <a:t>21.08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32DA84-566A-44C1-A97E-361C71D8B274}" type="datetime1">
              <a:rPr lang="ru-RU" smtClean="0"/>
              <a:t>21.08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B7EC6A33-5B72-4DBF-8BB0-077B736C7CB4}" type="datetime1">
              <a:rPr lang="ru-RU" smtClean="0"/>
              <a:t>21.08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512525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107504" y="5733256"/>
            <a:ext cx="8446477" cy="720080"/>
          </a:xfrm>
        </p:spPr>
        <p:txBody>
          <a:bodyPr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руководителя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я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.Г. Михеев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258" y="1690689"/>
            <a:ext cx="9144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930162" y="98661"/>
            <a:ext cx="1304192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5234354" y="567635"/>
            <a:ext cx="365812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grpSp>
        <p:nvGrpSpPr>
          <p:cNvPr id="10" name="Группа 34"/>
          <p:cNvGrpSpPr/>
          <p:nvPr/>
        </p:nvGrpSpPr>
        <p:grpSpPr>
          <a:xfrm>
            <a:off x="0" y="367095"/>
            <a:ext cx="8229600" cy="403541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672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688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5367" name="Заголовок 1"/>
          <p:cNvSpPr>
            <a:spLocks/>
          </p:cNvSpPr>
          <p:nvPr/>
        </p:nvSpPr>
        <p:spPr bwMode="auto">
          <a:xfrm>
            <a:off x="1" y="770635"/>
            <a:ext cx="3309090" cy="991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0" y="2204864"/>
            <a:ext cx="915425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тоги работы </a:t>
            </a:r>
          </a:p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бирского управления </a:t>
            </a:r>
            <a:r>
              <a:rPr lang="ru-RU" sz="3600" b="1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технадзора </a:t>
            </a:r>
            <a:endParaRPr lang="ru-RU" sz="3600" b="1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гольной промышленности</a:t>
            </a: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І полугодие 2024 года</a:t>
            </a:r>
            <a:endParaRPr lang="ru-RU" sz="3600" b="1" dirty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7937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023408" y="6540925"/>
            <a:ext cx="18288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10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510729" y="2708920"/>
            <a:ext cx="4174668" cy="738664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8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28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9251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028384" y="6564883"/>
            <a:ext cx="1828800" cy="293117"/>
          </a:xfrm>
        </p:spPr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825553" y="1916832"/>
            <a:ext cx="7466184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127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опасных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изводственных объектов «разрез угольный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61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  объект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 обогащению и переработке полезных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скопаемых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76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  карьеров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    рудник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 открытым способом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обыч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27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  складов ВМ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    объекто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изводств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М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    полигоно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ля испытания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М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Заголовок 3"/>
          <p:cNvGrpSpPr>
            <a:grpSpLocks noGrp="1"/>
          </p:cNvGrpSpPr>
          <p:nvPr/>
        </p:nvGrpSpPr>
        <p:grpSpPr>
          <a:xfrm>
            <a:off x="0" y="151290"/>
            <a:ext cx="8915400" cy="1150757"/>
            <a:chOff x="35496" y="36555"/>
            <a:chExt cx="9107488" cy="1197107"/>
          </a:xfrm>
        </p:grpSpPr>
        <p:grpSp>
          <p:nvGrpSpPr>
            <p:cNvPr id="19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23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4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5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20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21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22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6" name="Прямоугольник 5"/>
          <p:cNvSpPr/>
          <p:nvPr/>
        </p:nvSpPr>
        <p:spPr>
          <a:xfrm>
            <a:off x="971600" y="1346597"/>
            <a:ext cx="78488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бъекты,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однадзорные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ибирскому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управлению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остехнадзора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4976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023408" y="6540925"/>
            <a:ext cx="18288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3</a:t>
            </a:fld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3518561"/>
              </p:ext>
            </p:extLst>
          </p:nvPr>
        </p:nvGraphicFramePr>
        <p:xfrm>
          <a:off x="395536" y="1628800"/>
          <a:ext cx="8136904" cy="4379999"/>
        </p:xfrm>
        <a:graphic>
          <a:graphicData uri="http://schemas.openxmlformats.org/drawingml/2006/table">
            <a:tbl>
              <a:tblPr firstRow="1" firstCol="1" lastRow="1" lastCol="1" bandRow="1" bandCol="1">
                <a:effectLst>
                  <a:outerShdw blurRad="190500" sx="103000" sy="103000" algn="ctr" rotWithShape="0">
                    <a:schemeClr val="bg2">
                      <a:lumMod val="50000"/>
                      <a:alpha val="40000"/>
                    </a:schemeClr>
                  </a:outerShdw>
                  <a:reflection endPos="0" dir="5400000" sy="-100000" algn="bl" rotWithShape="0"/>
                </a:effectLst>
                <a:tableStyleId>{284E427A-3D55-4303-BF80-6455036E1DE7}</a:tableStyleId>
              </a:tblPr>
              <a:tblGrid>
                <a:gridCol w="498769"/>
                <a:gridCol w="3773901"/>
                <a:gridCol w="1637856"/>
                <a:gridCol w="1434290"/>
                <a:gridCol w="792088"/>
              </a:tblGrid>
              <a:tr h="5999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.п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и надзорной деятельности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месяцев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 года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месяцев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 года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/-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проведенных проверок,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 них: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</a:t>
                      </a:r>
                      <a:endParaRPr lang="ru-RU" sz="14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 algn="l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овы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</a:t>
                      </a:r>
                      <a:endParaRPr lang="ru-RU" sz="14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плановы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</a:t>
                      </a:r>
                      <a:endParaRPr lang="ru-RU" sz="14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выявленных нарушений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9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3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56</a:t>
                      </a:r>
                      <a:endParaRPr lang="ru-RU" sz="14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значено административных штрафов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6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ая сумма наложенных штрафов,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. руб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7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82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,2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ло приостановок по решению суда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6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17" name="Заголовок 3"/>
          <p:cNvGrpSpPr>
            <a:grpSpLocks noGrp="1"/>
          </p:cNvGrpSpPr>
          <p:nvPr/>
        </p:nvGrpSpPr>
        <p:grpSpPr>
          <a:xfrm>
            <a:off x="0" y="151290"/>
            <a:ext cx="8915400" cy="1150757"/>
            <a:chOff x="35496" y="36555"/>
            <a:chExt cx="9107488" cy="1197107"/>
          </a:xfrm>
        </p:grpSpPr>
        <p:grpSp>
          <p:nvGrpSpPr>
            <p:cNvPr id="1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2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4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5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1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2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2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" name="Прямоугольник 1"/>
          <p:cNvSpPr/>
          <p:nvPr/>
        </p:nvSpPr>
        <p:spPr>
          <a:xfrm>
            <a:off x="1097896" y="825040"/>
            <a:ext cx="78488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Надзорная деятельность </a:t>
            </a:r>
            <a:r>
              <a:rPr lang="ru-RU" b="1" dirty="0" smtClean="0"/>
              <a:t>в </a:t>
            </a:r>
            <a:r>
              <a:rPr lang="ru-RU" b="1" dirty="0"/>
              <a:t>горнодобывающей промышленности </a:t>
            </a:r>
          </a:p>
          <a:p>
            <a:pPr algn="ctr"/>
            <a:r>
              <a:rPr lang="ru-RU" b="1" dirty="0"/>
              <a:t>за I полугодие 2024 года</a:t>
            </a:r>
          </a:p>
        </p:txBody>
      </p:sp>
    </p:spTree>
    <p:extLst>
      <p:ext uri="{BB962C8B-B14F-4D97-AF65-F5344CB8AC3E}">
        <p14:creationId xmlns:p14="http://schemas.microsoft.com/office/powerpoint/2010/main" val="3549346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023408" y="6540925"/>
            <a:ext cx="18288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4</a:t>
            </a:fld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0324518"/>
              </p:ext>
            </p:extLst>
          </p:nvPr>
        </p:nvGraphicFramePr>
        <p:xfrm>
          <a:off x="395536" y="1628800"/>
          <a:ext cx="8136904" cy="4379999"/>
        </p:xfrm>
        <a:graphic>
          <a:graphicData uri="http://schemas.openxmlformats.org/drawingml/2006/table">
            <a:tbl>
              <a:tblPr firstRow="1" firstCol="1" lastRow="1" lastCol="1" bandRow="1" bandCol="1">
                <a:effectLst>
                  <a:outerShdw blurRad="190500" sx="103000" sy="103000" algn="ctr" rotWithShape="0">
                    <a:schemeClr val="bg2">
                      <a:lumMod val="50000"/>
                      <a:alpha val="40000"/>
                    </a:schemeClr>
                  </a:outerShdw>
                  <a:reflection endPos="0" dir="5400000" sy="-100000" algn="bl" rotWithShape="0"/>
                </a:effectLst>
                <a:tableStyleId>{284E427A-3D55-4303-BF80-6455036E1DE7}</a:tableStyleId>
              </a:tblPr>
              <a:tblGrid>
                <a:gridCol w="498769"/>
                <a:gridCol w="3773901"/>
                <a:gridCol w="1637856"/>
                <a:gridCol w="1434290"/>
                <a:gridCol w="792088"/>
              </a:tblGrid>
              <a:tr h="5999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.п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и надзорной деятельности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месяцев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 года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месяцев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 года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/-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проведенных проверок,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 них: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 algn="l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овы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плановы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выявленных нарушений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42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8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значено административных штрафов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4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ая сумма наложенных штрафов,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. руб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1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29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,479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ло приостановок по решению суда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9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17" name="Заголовок 3"/>
          <p:cNvGrpSpPr>
            <a:grpSpLocks noGrp="1"/>
          </p:cNvGrpSpPr>
          <p:nvPr/>
        </p:nvGrpSpPr>
        <p:grpSpPr>
          <a:xfrm>
            <a:off x="0" y="151290"/>
            <a:ext cx="8915400" cy="1150757"/>
            <a:chOff x="35496" y="36555"/>
            <a:chExt cx="9107488" cy="1197107"/>
          </a:xfrm>
        </p:grpSpPr>
        <p:grpSp>
          <p:nvGrpSpPr>
            <p:cNvPr id="1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2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4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5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1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2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2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" name="Прямоугольник 1"/>
          <p:cNvSpPr/>
          <p:nvPr/>
        </p:nvSpPr>
        <p:spPr>
          <a:xfrm>
            <a:off x="1043608" y="839467"/>
            <a:ext cx="75608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На объектах по добыче </a:t>
            </a:r>
            <a:r>
              <a:rPr lang="ru-RU" b="1" dirty="0" smtClean="0"/>
              <a:t>угля открытым </a:t>
            </a:r>
            <a:r>
              <a:rPr lang="ru-RU" b="1" dirty="0"/>
              <a:t>способом</a:t>
            </a:r>
          </a:p>
          <a:p>
            <a:pPr algn="ctr"/>
            <a:r>
              <a:rPr lang="ru-RU" b="1" dirty="0"/>
              <a:t>за I полугодие 2024 года</a:t>
            </a:r>
          </a:p>
        </p:txBody>
      </p:sp>
    </p:spTree>
    <p:extLst>
      <p:ext uri="{BB962C8B-B14F-4D97-AF65-F5344CB8AC3E}">
        <p14:creationId xmlns:p14="http://schemas.microsoft.com/office/powerpoint/2010/main" val="361428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023408" y="6540925"/>
            <a:ext cx="18288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5</a:t>
            </a:fld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1059194"/>
              </p:ext>
            </p:extLst>
          </p:nvPr>
        </p:nvGraphicFramePr>
        <p:xfrm>
          <a:off x="395536" y="1628800"/>
          <a:ext cx="8136904" cy="4379999"/>
        </p:xfrm>
        <a:graphic>
          <a:graphicData uri="http://schemas.openxmlformats.org/drawingml/2006/table">
            <a:tbl>
              <a:tblPr firstRow="1" firstCol="1" lastRow="1" lastCol="1" bandRow="1" bandCol="1">
                <a:effectLst>
                  <a:outerShdw blurRad="190500" sx="103000" sy="103000" algn="ctr" rotWithShape="0">
                    <a:schemeClr val="bg2">
                      <a:lumMod val="50000"/>
                      <a:alpha val="40000"/>
                    </a:schemeClr>
                  </a:outerShdw>
                  <a:reflection endPos="0" dir="5400000" sy="-100000" algn="bl" rotWithShape="0"/>
                </a:effectLst>
                <a:tableStyleId>{284E427A-3D55-4303-BF80-6455036E1DE7}</a:tableStyleId>
              </a:tblPr>
              <a:tblGrid>
                <a:gridCol w="498769"/>
                <a:gridCol w="3773901"/>
                <a:gridCol w="1637856"/>
                <a:gridCol w="1434290"/>
                <a:gridCol w="792088"/>
              </a:tblGrid>
              <a:tr h="5999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.п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и надзорной деятельности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месяцев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 года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месяцев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 года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/-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проведенных проверок,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 них: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 algn="l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овы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плановы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выявленных нарушений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3</a:t>
                      </a: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22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значено административных штрафов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ая сумма наложенных штрафов,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. руб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56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19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0,56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ло приостановок по решению суда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17" name="Заголовок 3"/>
          <p:cNvGrpSpPr>
            <a:grpSpLocks noGrp="1"/>
          </p:cNvGrpSpPr>
          <p:nvPr/>
        </p:nvGrpSpPr>
        <p:grpSpPr>
          <a:xfrm>
            <a:off x="0" y="151290"/>
            <a:ext cx="8915400" cy="1150757"/>
            <a:chOff x="35496" y="36555"/>
            <a:chExt cx="9107488" cy="1197107"/>
          </a:xfrm>
        </p:grpSpPr>
        <p:grpSp>
          <p:nvGrpSpPr>
            <p:cNvPr id="1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2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4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5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1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2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2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" name="Прямоугольник 1"/>
          <p:cNvSpPr/>
          <p:nvPr/>
        </p:nvSpPr>
        <p:spPr>
          <a:xfrm>
            <a:off x="1043608" y="840382"/>
            <a:ext cx="77048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На объектах </a:t>
            </a:r>
            <a:r>
              <a:rPr lang="ru-RU" b="1" dirty="0" smtClean="0"/>
              <a:t>по </a:t>
            </a:r>
            <a:r>
              <a:rPr lang="ru-RU" b="1" dirty="0"/>
              <a:t>обогащению </a:t>
            </a:r>
            <a:r>
              <a:rPr lang="ru-RU" b="1" dirty="0" smtClean="0"/>
              <a:t>и переработке </a:t>
            </a:r>
            <a:r>
              <a:rPr lang="ru-RU" b="1" dirty="0"/>
              <a:t>полезных ископаемых </a:t>
            </a:r>
          </a:p>
          <a:p>
            <a:pPr algn="ctr"/>
            <a:r>
              <a:rPr lang="ru-RU" b="1" dirty="0"/>
              <a:t>за I полугодие 2024 года</a:t>
            </a:r>
          </a:p>
        </p:txBody>
      </p:sp>
    </p:spTree>
    <p:extLst>
      <p:ext uri="{BB962C8B-B14F-4D97-AF65-F5344CB8AC3E}">
        <p14:creationId xmlns:p14="http://schemas.microsoft.com/office/powerpoint/2010/main" val="361428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023408" y="6540925"/>
            <a:ext cx="18288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6</a:t>
            </a:fld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3059911"/>
              </p:ext>
            </p:extLst>
          </p:nvPr>
        </p:nvGraphicFramePr>
        <p:xfrm>
          <a:off x="395536" y="1628800"/>
          <a:ext cx="8136904" cy="4379999"/>
        </p:xfrm>
        <a:graphic>
          <a:graphicData uri="http://schemas.openxmlformats.org/drawingml/2006/table">
            <a:tbl>
              <a:tblPr firstRow="1" firstCol="1" lastRow="1" lastCol="1" bandRow="1" bandCol="1">
                <a:effectLst>
                  <a:outerShdw blurRad="190500" sx="103000" sy="103000" algn="ctr" rotWithShape="0">
                    <a:schemeClr val="bg2">
                      <a:lumMod val="50000"/>
                      <a:alpha val="40000"/>
                    </a:schemeClr>
                  </a:outerShdw>
                  <a:reflection endPos="0" dir="5400000" sy="-100000" algn="bl" rotWithShape="0"/>
                </a:effectLst>
                <a:tableStyleId>{284E427A-3D55-4303-BF80-6455036E1DE7}</a:tableStyleId>
              </a:tblPr>
              <a:tblGrid>
                <a:gridCol w="498769"/>
                <a:gridCol w="3773901"/>
                <a:gridCol w="1637856"/>
                <a:gridCol w="1434290"/>
                <a:gridCol w="792088"/>
              </a:tblGrid>
              <a:tr h="5999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.п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и надзорной деятельности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месяцев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 года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месяцев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 года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/-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проведенных проверок,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 них: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/-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 algn="l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овы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плановы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</a:t>
                      </a:r>
                      <a:endParaRPr lang="ru-RU" sz="14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выявленных нарушений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4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значено административных штрафов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7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ая сумма наложенных штрафов,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. руб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8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0,28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ло приостановок по решению суда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/-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17" name="Заголовок 3"/>
          <p:cNvGrpSpPr>
            <a:grpSpLocks noGrp="1"/>
          </p:cNvGrpSpPr>
          <p:nvPr/>
        </p:nvGrpSpPr>
        <p:grpSpPr>
          <a:xfrm>
            <a:off x="0" y="151290"/>
            <a:ext cx="8915400" cy="1150757"/>
            <a:chOff x="35496" y="36555"/>
            <a:chExt cx="9107488" cy="1197107"/>
          </a:xfrm>
        </p:grpSpPr>
        <p:grpSp>
          <p:nvGrpSpPr>
            <p:cNvPr id="1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2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4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5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1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2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2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" name="Прямоугольник 1"/>
          <p:cNvSpPr/>
          <p:nvPr/>
        </p:nvSpPr>
        <p:spPr>
          <a:xfrm>
            <a:off x="1043608" y="840382"/>
            <a:ext cx="78717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На горнорудных объектах </a:t>
            </a:r>
            <a:r>
              <a:rPr lang="ru-RU" b="1" dirty="0" smtClean="0"/>
              <a:t>по </a:t>
            </a:r>
            <a:r>
              <a:rPr lang="ru-RU" b="1" dirty="0"/>
              <a:t>добыче открытым способом</a:t>
            </a:r>
          </a:p>
          <a:p>
            <a:pPr algn="ctr"/>
            <a:r>
              <a:rPr lang="ru-RU" b="1" dirty="0"/>
              <a:t>за I полугодие 2024 года</a:t>
            </a:r>
          </a:p>
        </p:txBody>
      </p:sp>
    </p:spTree>
    <p:extLst>
      <p:ext uri="{BB962C8B-B14F-4D97-AF65-F5344CB8AC3E}">
        <p14:creationId xmlns:p14="http://schemas.microsoft.com/office/powerpoint/2010/main" val="361428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023408" y="6540925"/>
            <a:ext cx="18288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7</a:t>
            </a:fld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2006975"/>
              </p:ext>
            </p:extLst>
          </p:nvPr>
        </p:nvGraphicFramePr>
        <p:xfrm>
          <a:off x="395536" y="1628800"/>
          <a:ext cx="8136904" cy="4379999"/>
        </p:xfrm>
        <a:graphic>
          <a:graphicData uri="http://schemas.openxmlformats.org/drawingml/2006/table">
            <a:tbl>
              <a:tblPr firstRow="1" firstCol="1" lastRow="1" lastCol="1" bandRow="1" bandCol="1">
                <a:effectLst>
                  <a:outerShdw blurRad="190500" sx="103000" sy="103000" algn="ctr" rotWithShape="0">
                    <a:schemeClr val="bg2">
                      <a:lumMod val="50000"/>
                      <a:alpha val="40000"/>
                    </a:schemeClr>
                  </a:outerShdw>
                  <a:reflection endPos="0" dir="5400000" sy="-100000" algn="bl" rotWithShape="0"/>
                </a:effectLst>
                <a:tableStyleId>{284E427A-3D55-4303-BF80-6455036E1DE7}</a:tableStyleId>
              </a:tblPr>
              <a:tblGrid>
                <a:gridCol w="498769"/>
                <a:gridCol w="3773901"/>
                <a:gridCol w="1637856"/>
                <a:gridCol w="1434290"/>
                <a:gridCol w="792088"/>
              </a:tblGrid>
              <a:tr h="5999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.п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и надзорной деятельности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месяцев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 года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месяцев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 года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/-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проведенных проверок,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 них: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 algn="l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овы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плановы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/- 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выявленных нарушений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значено административных штрафов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ая сумма наложенных штрафов,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. руб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3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0,07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ло приостановок по решению суда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5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17" name="Заголовок 3"/>
          <p:cNvGrpSpPr>
            <a:grpSpLocks noGrp="1"/>
          </p:cNvGrpSpPr>
          <p:nvPr/>
        </p:nvGrpSpPr>
        <p:grpSpPr>
          <a:xfrm>
            <a:off x="0" y="151290"/>
            <a:ext cx="8915400" cy="1150757"/>
            <a:chOff x="35496" y="36555"/>
            <a:chExt cx="9107488" cy="1197107"/>
          </a:xfrm>
        </p:grpSpPr>
        <p:grpSp>
          <p:nvGrpSpPr>
            <p:cNvPr id="1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2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4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5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1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2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2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" name="Прямоугольник 1"/>
          <p:cNvSpPr/>
          <p:nvPr/>
        </p:nvSpPr>
        <p:spPr>
          <a:xfrm>
            <a:off x="1043608" y="796458"/>
            <a:ext cx="78717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При обращении со взрывчатыми материалами промышленного </a:t>
            </a:r>
            <a:r>
              <a:rPr lang="ru-RU" b="1" dirty="0" smtClean="0"/>
              <a:t>назначения за </a:t>
            </a:r>
            <a:r>
              <a:rPr lang="ru-RU" b="1" dirty="0"/>
              <a:t>I полугодие 2024 года</a:t>
            </a:r>
          </a:p>
        </p:txBody>
      </p:sp>
    </p:spTree>
    <p:extLst>
      <p:ext uri="{BB962C8B-B14F-4D97-AF65-F5344CB8AC3E}">
        <p14:creationId xmlns:p14="http://schemas.microsoft.com/office/powerpoint/2010/main" val="361428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023408" y="6540925"/>
            <a:ext cx="18288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8</a:t>
            </a:fld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02401" y="1628800"/>
            <a:ext cx="87508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/>
              <a:t>ПРИКАЗ от </a:t>
            </a:r>
            <a:r>
              <a:rPr lang="ru-RU" sz="1600" dirty="0"/>
              <a:t>10 ноября 2020 года </a:t>
            </a:r>
            <a:r>
              <a:rPr lang="ru-RU" sz="1600" dirty="0" smtClean="0"/>
              <a:t>№ </a:t>
            </a:r>
            <a:r>
              <a:rPr lang="ru-RU" sz="1600" dirty="0"/>
              <a:t>436</a:t>
            </a:r>
          </a:p>
          <a:p>
            <a:pPr algn="just"/>
            <a:r>
              <a:rPr lang="ru-RU" sz="1600" dirty="0"/>
              <a:t>Об утверждении Федеральных норм и правил в области промышленной безопасности</a:t>
            </a:r>
          </a:p>
          <a:p>
            <a:pPr algn="just"/>
            <a:r>
              <a:rPr lang="ru-RU" sz="1600" dirty="0"/>
              <a:t>"Правила безопасности при разработке угольных месторождений открытым способом"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791685" y="2780928"/>
            <a:ext cx="7848872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/>
              <a:t>8.</a:t>
            </a:r>
            <a:r>
              <a:rPr lang="ru-RU" sz="1100" dirty="0"/>
              <a:t> Приведение действующего угольного разреза в соответствие с требованиями настоящих Правил</a:t>
            </a:r>
          </a:p>
          <a:p>
            <a:r>
              <a:rPr lang="ru-RU" sz="1100" dirty="0"/>
              <a:t>безопасности осуществляется в сроки, которые устанавливает руководитель (главный инженер) организации или</a:t>
            </a:r>
          </a:p>
          <a:p>
            <a:r>
              <a:rPr lang="ru-RU" sz="1100" dirty="0"/>
              <a:t>технический руководитель (главный инженер) угольного разреза. Для приведения действующего угольного</a:t>
            </a:r>
          </a:p>
          <a:p>
            <a:r>
              <a:rPr lang="ru-RU" sz="1100" dirty="0"/>
              <a:t>разреза в соответствие с требованиями настоящих Правил безопасности руководителем (главным инженером)</a:t>
            </a:r>
          </a:p>
          <a:p>
            <a:r>
              <a:rPr lang="ru-RU" sz="1100" dirty="0"/>
              <a:t>организации или техническим руководителем (главным инженером) угольного разреза разрабатываются</a:t>
            </a:r>
          </a:p>
          <a:p>
            <a:r>
              <a:rPr lang="ru-RU" sz="1100" dirty="0"/>
              <a:t>мероприятия, обосновывающие и обеспечивающие безопасную эксплуатацию угольного разреза. План</a:t>
            </a:r>
          </a:p>
          <a:p>
            <a:r>
              <a:rPr lang="ru-RU" sz="1100" dirty="0"/>
              <a:t>реализации мероприятий направляется в территориальный орган Федеральной службы по экологическому,</a:t>
            </a:r>
          </a:p>
          <a:p>
            <a:r>
              <a:rPr lang="ru-RU" sz="1100" dirty="0"/>
              <a:t>технологическому и атомному надзору, осуществляющий федеральный государственный надзор в области</a:t>
            </a:r>
          </a:p>
          <a:p>
            <a:r>
              <a:rPr lang="ru-RU" sz="1100" dirty="0"/>
              <a:t>промышленной безопасности за угольным разрезом (далее - территориальный орган </a:t>
            </a:r>
            <a:r>
              <a:rPr lang="ru-RU" sz="1100" dirty="0" err="1"/>
              <a:t>Ростехнадзора</a:t>
            </a:r>
            <a:r>
              <a:rPr lang="ru-RU" sz="1100" dirty="0"/>
              <a:t>).</a:t>
            </a:r>
            <a:endParaRPr lang="ru-RU" sz="11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79282" y="4728171"/>
            <a:ext cx="847367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собое внимание реализации планов мероприятий по внедрению МФСБ уделяется    при   рассмотрении  и  согласовании  планов 	развития   горных   работ, а так же в ходе     проведения    плановых и внеплановых проверок    угольных     разрезов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Заголовок 3"/>
          <p:cNvGrpSpPr>
            <a:grpSpLocks noGrp="1"/>
          </p:cNvGrpSpPr>
          <p:nvPr/>
        </p:nvGrpSpPr>
        <p:grpSpPr>
          <a:xfrm>
            <a:off x="0" y="151290"/>
            <a:ext cx="8915400" cy="1150757"/>
            <a:chOff x="35496" y="36555"/>
            <a:chExt cx="9107488" cy="1197107"/>
          </a:xfrm>
        </p:grpSpPr>
        <p:grpSp>
          <p:nvGrpSpPr>
            <p:cNvPr id="21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25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6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7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22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23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24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" name="Прямоугольник 1"/>
          <p:cNvSpPr/>
          <p:nvPr/>
        </p:nvSpPr>
        <p:spPr>
          <a:xfrm>
            <a:off x="1043608" y="978881"/>
            <a:ext cx="75969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План реализации мероприятий по внедрению </a:t>
            </a:r>
            <a:r>
              <a:rPr lang="ru-RU" b="1" dirty="0" smtClean="0"/>
              <a:t>МФСБ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3463726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023408" y="6540925"/>
            <a:ext cx="18288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9</a:t>
            </a:fld>
            <a:endParaRPr lang="ru-RU" dirty="0"/>
          </a:p>
        </p:txBody>
      </p:sp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:p14="http://schemas.microsoft.com/office/powerpoint/2010/main" val="3552307437"/>
              </p:ext>
            </p:extLst>
          </p:nvPr>
        </p:nvGraphicFramePr>
        <p:xfrm>
          <a:off x="1510645" y="1484784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7" name="Заголовок 3"/>
          <p:cNvGrpSpPr>
            <a:grpSpLocks noGrp="1"/>
          </p:cNvGrpSpPr>
          <p:nvPr/>
        </p:nvGrpSpPr>
        <p:grpSpPr>
          <a:xfrm>
            <a:off x="0" y="151290"/>
            <a:ext cx="8915400" cy="1150757"/>
            <a:chOff x="35496" y="36555"/>
            <a:chExt cx="9107488" cy="1197107"/>
          </a:xfrm>
        </p:grpSpPr>
        <p:grpSp>
          <p:nvGrpSpPr>
            <p:cNvPr id="1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2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1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2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2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4" name="Прямоугольник 3"/>
          <p:cNvSpPr/>
          <p:nvPr/>
        </p:nvSpPr>
        <p:spPr>
          <a:xfrm>
            <a:off x="179512" y="932715"/>
            <a:ext cx="864096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/>
              <a:t>Итоги внедрения </a:t>
            </a:r>
            <a:r>
              <a:rPr lang="ru-RU" sz="2000" b="1" dirty="0" smtClean="0"/>
              <a:t>МФСБ 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39815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heme/theme1.xml><?xml version="1.0" encoding="utf-8"?>
<a:theme xmlns:a="http://schemas.openxmlformats.org/drawingml/2006/main" name="Воздушный поток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здушный поток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3500</TotalTime>
  <Words>716</Words>
  <Application>Microsoft Office PowerPoint</Application>
  <PresentationFormat>Экран (4:3)</PresentationFormat>
  <Paragraphs>288</Paragraphs>
  <Slides>10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Воздушный поток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ерксен Ольга Дмитриевна</dc:creator>
  <cp:lastModifiedBy>Ольга Дмитриевна Дерксен</cp:lastModifiedBy>
  <cp:revision>219</cp:revision>
  <cp:lastPrinted>2023-10-23T03:17:58Z</cp:lastPrinted>
  <dcterms:created xsi:type="dcterms:W3CDTF">2022-09-30T06:45:04Z</dcterms:created>
  <dcterms:modified xsi:type="dcterms:W3CDTF">2024-08-21T02:06:50Z</dcterms:modified>
</cp:coreProperties>
</file>